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FBB5449F-F4EB-4633-8FFF-1FF8045D8B53}">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55621070113510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284566228791441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284566228791441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60893731818428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89794850206542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897948502065428</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04386095006882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3419356127299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3419356127299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55621070113510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168140222272406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168891632263417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168891632263417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8244070896863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5.870573587515014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5.872709643239137e-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872709643239137e-0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04955893087454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17633613877683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14462086261064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6144620862610648</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04955893087454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39592569241538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395925692415380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176336138776839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9475779802875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314668210511141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314668210511141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32671722148129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891506821952563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891506821952563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8244070896863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90458335702911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50141091619643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501410916196438</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9475779802875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540653797930609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540653797930609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32671722148129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558848204634563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558848204634563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90458335702911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307713271147521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3077132711475219</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136263437631919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1712188993798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949262358029692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949262358029692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932584112982514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75360367353720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03803780949932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03803780949932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25402320828502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2356440195470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62817327035301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62817327035301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1712188993798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462163472645735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462163472645735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023564401954708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75360367353720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85201871273383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285201871273383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25402320828502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75596928288138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75596928288138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136263437631919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4877245075701976e-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00311054065661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8.765991781950135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8.765991781950135e-0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136263437631919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720074683312518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034609551599965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034609551599965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0003110540656611</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136263437631919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932584112982514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347989085109881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347989085109881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136263437631919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720074683312518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67657893839990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1.1096033275101614e-06</c:v>
                </c:pt>
                <c:pt idx="2">
                  <c:v>0.08957926734715205</c:v>
                </c:pt>
                <c:pt idx="3">
                  <c:v>0.910419623049520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067657893839990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60893731818428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7875153603401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7875153603401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688489945775084</c:v>
                </c:pt>
                <c:pt idx="3">
                  <c:v>0.0179408774639851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04386095006882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7.713463157658374e-08</c:v>
                </c:pt>
                <c:pt idx="2">
                  <c:v>0.0062271476773843705</c:v>
                </c:pt>
                <c:pt idx="3">
                  <c:v>0.0632882765065193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868996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57147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72767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451429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585612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9127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66328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4761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838124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9506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24555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009952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418198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315085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994396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208852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19896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908270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840174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25203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71464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468985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792629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238643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144523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667337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182097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105</Words>
  <Application>Microsoft Office PowerPoint</Application>
  <PresentationFormat>On-screen Show (16:9)</PresentationFormat>
  <Paragraphs>1161</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